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24"/>
  </p:notesMasterIdLst>
  <p:sldIdLst>
    <p:sldId id="275" r:id="rId7"/>
    <p:sldId id="274" r:id="rId8"/>
    <p:sldId id="289" r:id="rId9"/>
    <p:sldId id="329" r:id="rId10"/>
    <p:sldId id="317" r:id="rId11"/>
    <p:sldId id="318" r:id="rId12"/>
    <p:sldId id="319" r:id="rId13"/>
    <p:sldId id="320" r:id="rId14"/>
    <p:sldId id="321" r:id="rId15"/>
    <p:sldId id="322" r:id="rId16"/>
    <p:sldId id="323" r:id="rId17"/>
    <p:sldId id="314" r:id="rId18"/>
    <p:sldId id="324" r:id="rId19"/>
    <p:sldId id="325" r:id="rId20"/>
    <p:sldId id="326" r:id="rId21"/>
    <p:sldId id="327" r:id="rId22"/>
    <p:sldId id="328" r:id="rId23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>
            <p14:sldId id="274"/>
          </p14:sldIdLst>
        </p14:section>
        <p14:section name="Inhalt" id="{9143C095-ADCB-48C6-BBF9-4399ACA44AAA}">
          <p14:sldIdLst>
            <p14:sldId id="289"/>
            <p14:sldId id="329"/>
            <p14:sldId id="317"/>
            <p14:sldId id="318"/>
            <p14:sldId id="319"/>
            <p14:sldId id="320"/>
            <p14:sldId id="321"/>
            <p14:sldId id="322"/>
            <p14:sldId id="323"/>
            <p14:sldId id="314"/>
            <p14:sldId id="324"/>
            <p14:sldId id="325"/>
            <p14:sldId id="326"/>
            <p14:sldId id="327"/>
            <p14:sldId id="328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85" d="100"/>
          <a:sy n="85" d="100"/>
        </p:scale>
        <p:origin x="96" y="75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09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2" name="Inhaltsplatzhalter 11" descr="Ein Bild, das Person, sitzend, Frau, Gruppe enthält.&#10;&#10;Automatisch generierte Beschreibung">
            <a:extLst>
              <a:ext uri="{FF2B5EF4-FFF2-40B4-BE49-F238E27FC236}">
                <a16:creationId xmlns:a16="http://schemas.microsoft.com/office/drawing/2014/main" id="{A87208A4-937E-43D4-B391-10C57F11C8A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594" y="1878657"/>
            <a:ext cx="4649239" cy="3100685"/>
          </a:xfrm>
        </p:spPr>
      </p:pic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62D3B909-37A1-44F7-910B-E8E3B505D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559879"/>
              </p:ext>
            </p:extLst>
          </p:nvPr>
        </p:nvGraphicFramePr>
        <p:xfrm>
          <a:off x="4923833" y="1190260"/>
          <a:ext cx="6919398" cy="4477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mode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emodel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2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4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Eine Person übersehe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254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Person, sitzend, Mann, Frau enthält.&#10;&#10;Automatisch generierte Beschreibung">
            <a:extLst>
              <a:ext uri="{FF2B5EF4-FFF2-40B4-BE49-F238E27FC236}">
                <a16:creationId xmlns:a16="http://schemas.microsoft.com/office/drawing/2014/main" id="{29E5597E-CCFF-42AB-9005-484393187A0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057400"/>
            <a:ext cx="4113218" cy="2743200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C8EDC55E-BC18-4A97-B139-A96ACC022E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2112210"/>
              </p:ext>
            </p:extLst>
          </p:nvPr>
        </p:nvGraphicFramePr>
        <p:xfrm>
          <a:off x="4727296" y="1107783"/>
          <a:ext cx="6919398" cy="4839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5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6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Könnte mit Nachbearbeitung besser aussehen. Label 14 = „Bench“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4209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Raum, Bildschirm, haltend, Frau enthält.&#10;&#10;Automatisch generierte Beschreibung">
            <a:extLst>
              <a:ext uri="{FF2B5EF4-FFF2-40B4-BE49-F238E27FC236}">
                <a16:creationId xmlns:a16="http://schemas.microsoft.com/office/drawing/2014/main" id="{6AC11808-75EA-4CFD-ABA0-0F9C52E98FB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162175"/>
            <a:ext cx="3810000" cy="2533650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777D4DCC-D7A0-497A-990A-4F376BA04D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3541036"/>
              </p:ext>
            </p:extLst>
          </p:nvPr>
        </p:nvGraphicFramePr>
        <p:xfrm>
          <a:off x="4431051" y="1203463"/>
          <a:ext cx="6919398" cy="4863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2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Besser als </a:t>
                      </a:r>
                      <a:r>
                        <a:rPr lang="de-DE" dirty="0" err="1"/>
                        <a:t>TFLite</a:t>
                      </a:r>
                      <a:r>
                        <a:rPr lang="de-DE" dirty="0"/>
                        <a:t> da jede Person eine </a:t>
                      </a:r>
                      <a:r>
                        <a:rPr lang="de-DE" dirty="0" err="1"/>
                        <a:t>Bbox</a:t>
                      </a:r>
                      <a:r>
                        <a:rPr lang="de-DE" dirty="0"/>
                        <a:t> besitzt. 14 = „Bench“ 61=„Chair“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0" name="Inhaltsplatzhalter 9" descr="Ein Bild, das draußen, Gebäude, gehen, Personen enthält.&#10;&#10;Automatisch generierte Beschreibung">
            <a:extLst>
              <a:ext uri="{FF2B5EF4-FFF2-40B4-BE49-F238E27FC236}">
                <a16:creationId xmlns:a16="http://schemas.microsoft.com/office/drawing/2014/main" id="{733F8191-FA36-4279-A6C6-7FECFDF9EEF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56" y="2338802"/>
            <a:ext cx="3810000" cy="2133600"/>
          </a:xfrm>
        </p:spPr>
      </p:pic>
      <p:graphicFrame>
        <p:nvGraphicFramePr>
          <p:cNvPr id="15" name="Tabelle 12">
            <a:extLst>
              <a:ext uri="{FF2B5EF4-FFF2-40B4-BE49-F238E27FC236}">
                <a16:creationId xmlns:a16="http://schemas.microsoft.com/office/drawing/2014/main" id="{987473C4-C34B-4873-A4F1-4D29BAFC5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135523"/>
              </p:ext>
            </p:extLst>
          </p:nvPr>
        </p:nvGraphicFramePr>
        <p:xfrm>
          <a:off x="4765846" y="1178066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HO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17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Hier versagt der HOG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0744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8" name="Inhaltsplatzhalter 7" descr="Ein Bild, das Gebäude, draußen, Person, fahrend enthält.&#10;&#10;Automatisch generierte Beschreibung">
            <a:extLst>
              <a:ext uri="{FF2B5EF4-FFF2-40B4-BE49-F238E27FC236}">
                <a16:creationId xmlns:a16="http://schemas.microsoft.com/office/drawing/2014/main" id="{012EFFE6-F3FC-4DF4-B5BA-7C9C41E7512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023657"/>
            <a:ext cx="5004187" cy="2810685"/>
          </a:xfrm>
          <a:prstGeom prst="rect">
            <a:avLst/>
          </a:prstGeom>
        </p:spPr>
      </p:pic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77E9209A-6F13-4179-89BC-C87413AF6D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1451611"/>
              </p:ext>
            </p:extLst>
          </p:nvPr>
        </p:nvGraphicFramePr>
        <p:xfrm>
          <a:off x="4823122" y="1184074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mode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emodel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2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4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Viel Übersehen bei einer Konfidenz von 60%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97864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Gebäude, draußen, Person, Zaun enthält.&#10;&#10;Automatisch generierte Beschreibung">
            <a:extLst>
              <a:ext uri="{FF2B5EF4-FFF2-40B4-BE49-F238E27FC236}">
                <a16:creationId xmlns:a16="http://schemas.microsoft.com/office/drawing/2014/main" id="{3B043F21-CE85-4C0D-A292-FE81AECD773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24" y="2014256"/>
            <a:ext cx="4954348" cy="2782692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B861AC89-FC28-4AB1-B8FB-6F7C9502D8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2752799"/>
              </p:ext>
            </p:extLst>
          </p:nvPr>
        </p:nvGraphicFramePr>
        <p:xfrm>
          <a:off x="5036778" y="1314526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5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1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Gute Performance für anspruchsvolles Bil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06382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Gebäude, gehen, Frau, Schnee enthält.&#10;&#10;Automatisch generierte Beschreibung">
            <a:extLst>
              <a:ext uri="{FF2B5EF4-FFF2-40B4-BE49-F238E27FC236}">
                <a16:creationId xmlns:a16="http://schemas.microsoft.com/office/drawing/2014/main" id="{4BF32291-28F2-4FFB-B86D-D45C177FF5F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00" y="2121274"/>
            <a:ext cx="4586886" cy="2568656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2096D50C-4D44-4546-9F5A-80A90E6002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39516"/>
              </p:ext>
            </p:extLst>
          </p:nvPr>
        </p:nvGraphicFramePr>
        <p:xfrm>
          <a:off x="4743686" y="1168985"/>
          <a:ext cx="6919398" cy="45262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2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Gute Performance bei langer Rechenzeit…aber warum?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0600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4794D7A-1841-45AD-B317-6F4C205C51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4382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627" b="37003"/>
          <a:stretch/>
        </p:blipFill>
        <p:spPr bwMode="auto">
          <a:xfrm>
            <a:off x="0" y="0"/>
            <a:ext cx="12192000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349816" y="-6180"/>
            <a:ext cx="5746184" cy="6891563"/>
          </a:xfrm>
          <a:custGeom>
            <a:avLst/>
            <a:gdLst>
              <a:gd name="connsiteX0" fmla="*/ 0 w 3724176"/>
              <a:gd name="connsiteY0" fmla="*/ 0 h 6885384"/>
              <a:gd name="connsiteX1" fmla="*/ 3724176 w 3724176"/>
              <a:gd name="connsiteY1" fmla="*/ 0 h 6885384"/>
              <a:gd name="connsiteX2" fmla="*/ 3724176 w 3724176"/>
              <a:gd name="connsiteY2" fmla="*/ 6885384 h 6885384"/>
              <a:gd name="connsiteX3" fmla="*/ 0 w 3724176"/>
              <a:gd name="connsiteY3" fmla="*/ 6885384 h 6885384"/>
              <a:gd name="connsiteX4" fmla="*/ 0 w 3724176"/>
              <a:gd name="connsiteY4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1470660 h 6885384"/>
              <a:gd name="connsiteX5" fmla="*/ 5080 w 3729256"/>
              <a:gd name="connsiteY5" fmla="*/ 0 h 6885384"/>
              <a:gd name="connsiteX0" fmla="*/ 277374 w 4001550"/>
              <a:gd name="connsiteY0" fmla="*/ 0 h 6885384"/>
              <a:gd name="connsiteX1" fmla="*/ 4001550 w 4001550"/>
              <a:gd name="connsiteY1" fmla="*/ 0 h 6885384"/>
              <a:gd name="connsiteX2" fmla="*/ 4001550 w 4001550"/>
              <a:gd name="connsiteY2" fmla="*/ 6885384 h 6885384"/>
              <a:gd name="connsiteX3" fmla="*/ 277374 w 4001550"/>
              <a:gd name="connsiteY3" fmla="*/ 6885384 h 6885384"/>
              <a:gd name="connsiteX4" fmla="*/ 272294 w 4001550"/>
              <a:gd name="connsiteY4" fmla="*/ 2225040 h 6885384"/>
              <a:gd name="connsiteX5" fmla="*/ 272294 w 4001550"/>
              <a:gd name="connsiteY5" fmla="*/ 1470660 h 6885384"/>
              <a:gd name="connsiteX6" fmla="*/ 277374 w 4001550"/>
              <a:gd name="connsiteY6" fmla="*/ 0 h 6885384"/>
              <a:gd name="connsiteX0" fmla="*/ 5716 w 3729892"/>
              <a:gd name="connsiteY0" fmla="*/ 0 h 6885384"/>
              <a:gd name="connsiteX1" fmla="*/ 3729892 w 3729892"/>
              <a:gd name="connsiteY1" fmla="*/ 0 h 6885384"/>
              <a:gd name="connsiteX2" fmla="*/ 3729892 w 3729892"/>
              <a:gd name="connsiteY2" fmla="*/ 6885384 h 6885384"/>
              <a:gd name="connsiteX3" fmla="*/ 5716 w 3729892"/>
              <a:gd name="connsiteY3" fmla="*/ 6885384 h 6885384"/>
              <a:gd name="connsiteX4" fmla="*/ 636 w 3729892"/>
              <a:gd name="connsiteY4" fmla="*/ 2225040 h 6885384"/>
              <a:gd name="connsiteX5" fmla="*/ 636 w 3729892"/>
              <a:gd name="connsiteY5" fmla="*/ 1470660 h 6885384"/>
              <a:gd name="connsiteX6" fmla="*/ 5716 w 3729892"/>
              <a:gd name="connsiteY6" fmla="*/ 0 h 6885384"/>
              <a:gd name="connsiteX0" fmla="*/ 5457 w 3729633"/>
              <a:gd name="connsiteY0" fmla="*/ 0 h 6885384"/>
              <a:gd name="connsiteX1" fmla="*/ 3729633 w 3729633"/>
              <a:gd name="connsiteY1" fmla="*/ 0 h 6885384"/>
              <a:gd name="connsiteX2" fmla="*/ 3729633 w 3729633"/>
              <a:gd name="connsiteY2" fmla="*/ 6885384 h 6885384"/>
              <a:gd name="connsiteX3" fmla="*/ 5457 w 3729633"/>
              <a:gd name="connsiteY3" fmla="*/ 6885384 h 6885384"/>
              <a:gd name="connsiteX4" fmla="*/ 377 w 3729633"/>
              <a:gd name="connsiteY4" fmla="*/ 2225040 h 6885384"/>
              <a:gd name="connsiteX5" fmla="*/ 377 w 3729633"/>
              <a:gd name="connsiteY5" fmla="*/ 1805940 h 6885384"/>
              <a:gd name="connsiteX6" fmla="*/ 377 w 3729633"/>
              <a:gd name="connsiteY6" fmla="*/ 1470660 h 6885384"/>
              <a:gd name="connsiteX7" fmla="*/ 5457 w 3729633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4 w 3729260"/>
              <a:gd name="connsiteY0" fmla="*/ 0 h 6885384"/>
              <a:gd name="connsiteX1" fmla="*/ 3729260 w 3729260"/>
              <a:gd name="connsiteY1" fmla="*/ 0 h 6885384"/>
              <a:gd name="connsiteX2" fmla="*/ 3729260 w 3729260"/>
              <a:gd name="connsiteY2" fmla="*/ 6885384 h 6885384"/>
              <a:gd name="connsiteX3" fmla="*/ 5084 w 3729260"/>
              <a:gd name="connsiteY3" fmla="*/ 6885384 h 6885384"/>
              <a:gd name="connsiteX4" fmla="*/ 4 w 3729260"/>
              <a:gd name="connsiteY4" fmla="*/ 2225040 h 6885384"/>
              <a:gd name="connsiteX5" fmla="*/ 449584 w 3729260"/>
              <a:gd name="connsiteY5" fmla="*/ 1821180 h 6885384"/>
              <a:gd name="connsiteX6" fmla="*/ 4 w 3729260"/>
              <a:gd name="connsiteY6" fmla="*/ 1470660 h 6885384"/>
              <a:gd name="connsiteX7" fmla="*/ 5084 w 3729260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6585056"/>
              <a:gd name="connsiteY0" fmla="*/ 6179 h 6891563"/>
              <a:gd name="connsiteX1" fmla="*/ 6585056 w 6585056"/>
              <a:gd name="connsiteY1" fmla="*/ 0 h 6891563"/>
              <a:gd name="connsiteX2" fmla="*/ 3729256 w 6585056"/>
              <a:gd name="connsiteY2" fmla="*/ 6891563 h 6891563"/>
              <a:gd name="connsiteX3" fmla="*/ 5080 w 6585056"/>
              <a:gd name="connsiteY3" fmla="*/ 6891563 h 6891563"/>
              <a:gd name="connsiteX4" fmla="*/ 0 w 6585056"/>
              <a:gd name="connsiteY4" fmla="*/ 2231219 h 6891563"/>
              <a:gd name="connsiteX5" fmla="*/ 449580 w 6585056"/>
              <a:gd name="connsiteY5" fmla="*/ 1827359 h 6891563"/>
              <a:gd name="connsiteX6" fmla="*/ 0 w 6585056"/>
              <a:gd name="connsiteY6" fmla="*/ 1476839 h 6891563"/>
              <a:gd name="connsiteX7" fmla="*/ 5080 w 6585056"/>
              <a:gd name="connsiteY7" fmla="*/ 6179 h 6891563"/>
              <a:gd name="connsiteX0" fmla="*/ 5080 w 6625937"/>
              <a:gd name="connsiteY0" fmla="*/ 6179 h 6891563"/>
              <a:gd name="connsiteX1" fmla="*/ 6585056 w 6625937"/>
              <a:gd name="connsiteY1" fmla="*/ 0 h 6891563"/>
              <a:gd name="connsiteX2" fmla="*/ 6625937 w 6625937"/>
              <a:gd name="connsiteY2" fmla="*/ 6885384 h 6891563"/>
              <a:gd name="connsiteX3" fmla="*/ 5080 w 6625937"/>
              <a:gd name="connsiteY3" fmla="*/ 6891563 h 6891563"/>
              <a:gd name="connsiteX4" fmla="*/ 0 w 6625937"/>
              <a:gd name="connsiteY4" fmla="*/ 2231219 h 6891563"/>
              <a:gd name="connsiteX5" fmla="*/ 449580 w 6625937"/>
              <a:gd name="connsiteY5" fmla="*/ 1827359 h 6891563"/>
              <a:gd name="connsiteX6" fmla="*/ 0 w 6625937"/>
              <a:gd name="connsiteY6" fmla="*/ 1476839 h 6891563"/>
              <a:gd name="connsiteX7" fmla="*/ 5080 w 6625937"/>
              <a:gd name="connsiteY7" fmla="*/ 6179 h 6891563"/>
              <a:gd name="connsiteX0" fmla="*/ 5080 w 6614257"/>
              <a:gd name="connsiteY0" fmla="*/ 6179 h 6891563"/>
              <a:gd name="connsiteX1" fmla="*/ 6585056 w 6614257"/>
              <a:gd name="connsiteY1" fmla="*/ 0 h 6891563"/>
              <a:gd name="connsiteX2" fmla="*/ 6614257 w 6614257"/>
              <a:gd name="connsiteY2" fmla="*/ 6879206 h 6891563"/>
              <a:gd name="connsiteX3" fmla="*/ 5080 w 6614257"/>
              <a:gd name="connsiteY3" fmla="*/ 6891563 h 6891563"/>
              <a:gd name="connsiteX4" fmla="*/ 0 w 6614257"/>
              <a:gd name="connsiteY4" fmla="*/ 2231219 h 6891563"/>
              <a:gd name="connsiteX5" fmla="*/ 449580 w 6614257"/>
              <a:gd name="connsiteY5" fmla="*/ 1827359 h 6891563"/>
              <a:gd name="connsiteX6" fmla="*/ 0 w 6614257"/>
              <a:gd name="connsiteY6" fmla="*/ 1476839 h 6891563"/>
              <a:gd name="connsiteX7" fmla="*/ 5080 w 6614257"/>
              <a:gd name="connsiteY7" fmla="*/ 6179 h 6891563"/>
              <a:gd name="connsiteX0" fmla="*/ 5080 w 6596736"/>
              <a:gd name="connsiteY0" fmla="*/ 6179 h 6891563"/>
              <a:gd name="connsiteX1" fmla="*/ 6585056 w 6596736"/>
              <a:gd name="connsiteY1" fmla="*/ 0 h 6891563"/>
              <a:gd name="connsiteX2" fmla="*/ 6596736 w 6596736"/>
              <a:gd name="connsiteY2" fmla="*/ 6879206 h 6891563"/>
              <a:gd name="connsiteX3" fmla="*/ 5080 w 6596736"/>
              <a:gd name="connsiteY3" fmla="*/ 6891563 h 6891563"/>
              <a:gd name="connsiteX4" fmla="*/ 0 w 6596736"/>
              <a:gd name="connsiteY4" fmla="*/ 2231219 h 6891563"/>
              <a:gd name="connsiteX5" fmla="*/ 449580 w 6596736"/>
              <a:gd name="connsiteY5" fmla="*/ 1827359 h 6891563"/>
              <a:gd name="connsiteX6" fmla="*/ 0 w 6596736"/>
              <a:gd name="connsiteY6" fmla="*/ 1476839 h 6891563"/>
              <a:gd name="connsiteX7" fmla="*/ 5080 w 6596736"/>
              <a:gd name="connsiteY7" fmla="*/ 6179 h 6891563"/>
              <a:gd name="connsiteX0" fmla="*/ 5715 w 6597371"/>
              <a:gd name="connsiteY0" fmla="*/ 6179 h 6891563"/>
              <a:gd name="connsiteX1" fmla="*/ 6585691 w 6597371"/>
              <a:gd name="connsiteY1" fmla="*/ 0 h 6891563"/>
              <a:gd name="connsiteX2" fmla="*/ 6597371 w 6597371"/>
              <a:gd name="connsiteY2" fmla="*/ 6879206 h 6891563"/>
              <a:gd name="connsiteX3" fmla="*/ 5715 w 6597371"/>
              <a:gd name="connsiteY3" fmla="*/ 6891563 h 6891563"/>
              <a:gd name="connsiteX4" fmla="*/ 635 w 6597371"/>
              <a:gd name="connsiteY4" fmla="*/ 2231219 h 6891563"/>
              <a:gd name="connsiteX5" fmla="*/ 635 w 6597371"/>
              <a:gd name="connsiteY5" fmla="*/ 1476839 h 6891563"/>
              <a:gd name="connsiteX6" fmla="*/ 5715 w 6597371"/>
              <a:gd name="connsiteY6" fmla="*/ 6179 h 689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371" h="6891563">
                <a:moveTo>
                  <a:pt x="5715" y="6179"/>
                </a:moveTo>
                <a:lnTo>
                  <a:pt x="6585691" y="0"/>
                </a:lnTo>
                <a:cubicBezTo>
                  <a:pt x="6589584" y="2293069"/>
                  <a:pt x="6593478" y="4586137"/>
                  <a:pt x="6597371" y="6879206"/>
                </a:cubicBezTo>
                <a:lnTo>
                  <a:pt x="5715" y="6891563"/>
                </a:lnTo>
                <a:cubicBezTo>
                  <a:pt x="9012" y="6061499"/>
                  <a:pt x="1482" y="3133673"/>
                  <a:pt x="635" y="2231219"/>
                </a:cubicBezTo>
                <a:cubicBezTo>
                  <a:pt x="-212" y="1328765"/>
                  <a:pt x="-212" y="1847679"/>
                  <a:pt x="635" y="1476839"/>
                </a:cubicBezTo>
                <a:cubicBezTo>
                  <a:pt x="2328" y="986619"/>
                  <a:pt x="4022" y="496399"/>
                  <a:pt x="5715" y="6179"/>
                </a:cubicBezTo>
                <a:close/>
              </a:path>
            </a:pathLst>
          </a:cu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idx="1"/>
          </p:nvPr>
        </p:nvSpPr>
        <p:spPr>
          <a:xfrm>
            <a:off x="647594" y="1263040"/>
            <a:ext cx="5150628" cy="3600400"/>
          </a:xfrm>
        </p:spPr>
        <p:txBody>
          <a:bodyPr/>
          <a:lstStyle/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23392" y="258762"/>
            <a:ext cx="9754043" cy="424800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881309" y="6584951"/>
            <a:ext cx="5012928" cy="215900"/>
          </a:xfrm>
        </p:spPr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360363" y="6586439"/>
            <a:ext cx="493866" cy="216000"/>
          </a:xfrm>
        </p:spPr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30114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93375EBF-67AB-4576-992D-C676C618BE83}"/>
              </a:ext>
            </a:extLst>
          </p:cNvPr>
          <p:cNvSpPr/>
          <p:nvPr/>
        </p:nvSpPr>
        <p:spPr>
          <a:xfrm>
            <a:off x="457516" y="2886776"/>
            <a:ext cx="2404534" cy="1524975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764B283-ED2E-43B0-8A68-C2D657AE282F}"/>
              </a:ext>
            </a:extLst>
          </p:cNvPr>
          <p:cNvSpPr/>
          <p:nvPr/>
        </p:nvSpPr>
        <p:spPr>
          <a:xfrm>
            <a:off x="8551335" y="4676283"/>
            <a:ext cx="2281962" cy="1192522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DAAAC9FD-5E85-46A2-B264-A12A0D7E6BF6}"/>
              </a:ext>
            </a:extLst>
          </p:cNvPr>
          <p:cNvSpPr/>
          <p:nvPr/>
        </p:nvSpPr>
        <p:spPr>
          <a:xfrm>
            <a:off x="441873" y="4617156"/>
            <a:ext cx="2404534" cy="1524975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B80DDFC-A8C0-4D03-A799-43DBDD5C7D0F}"/>
              </a:ext>
            </a:extLst>
          </p:cNvPr>
          <p:cNvSpPr/>
          <p:nvPr/>
        </p:nvSpPr>
        <p:spPr>
          <a:xfrm>
            <a:off x="8428762" y="948267"/>
            <a:ext cx="2404534" cy="2480734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508E6FE-F374-4396-BDF7-9F624EFB144E}"/>
              </a:ext>
            </a:extLst>
          </p:cNvPr>
          <p:cNvSpPr/>
          <p:nvPr/>
        </p:nvSpPr>
        <p:spPr>
          <a:xfrm>
            <a:off x="4015868" y="791871"/>
            <a:ext cx="2404534" cy="2882503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6475366-ED02-4330-B845-F535D375E6F3}"/>
              </a:ext>
            </a:extLst>
          </p:cNvPr>
          <p:cNvSpPr/>
          <p:nvPr/>
        </p:nvSpPr>
        <p:spPr>
          <a:xfrm>
            <a:off x="462844" y="869244"/>
            <a:ext cx="2404534" cy="1739474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rrektur der Kausalkette zur Einbindung von </a:t>
            </a:r>
            <a:r>
              <a:rPr lang="de-DE" dirty="0" err="1"/>
              <a:t>Tensorflow</a:t>
            </a:r>
            <a:r>
              <a:rPr lang="de-DE" dirty="0"/>
              <a:t> Li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6" name="Grafik 15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D5B1FEAD-2A56-49D5-B7C1-7C2B1BFBD6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08" y="1042570"/>
            <a:ext cx="1783605" cy="1087564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BE391E98-4E5A-4C2B-A2BA-3A0FE1206F3E}"/>
              </a:ext>
            </a:extLst>
          </p:cNvPr>
          <p:cNvSpPr txBox="1"/>
          <p:nvPr/>
        </p:nvSpPr>
        <p:spPr>
          <a:xfrm>
            <a:off x="988640" y="2155512"/>
            <a:ext cx="13529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Knoten Kinect2Bridge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17328A3-A700-4116-B5EA-E9CDB7C413A6}"/>
              </a:ext>
            </a:extLst>
          </p:cNvPr>
          <p:cNvCxnSpPr>
            <a:cxnSpLocks/>
          </p:cNvCxnSpPr>
          <p:nvPr/>
        </p:nvCxnSpPr>
        <p:spPr>
          <a:xfrm>
            <a:off x="2867378" y="1885244"/>
            <a:ext cx="1148490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 descr="Ein Bild, das Text enthält.&#10;&#10;Automatisch generierte Beschreibung">
            <a:extLst>
              <a:ext uri="{FF2B5EF4-FFF2-40B4-BE49-F238E27FC236}">
                <a16:creationId xmlns:a16="http://schemas.microsoft.com/office/drawing/2014/main" id="{EE756C98-E661-4498-AE55-C33D3E6E4A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11" y="838799"/>
            <a:ext cx="2136812" cy="1769919"/>
          </a:xfrm>
          <a:prstGeom prst="rect">
            <a:avLst/>
          </a:prstGeom>
        </p:spPr>
      </p:pic>
      <p:pic>
        <p:nvPicPr>
          <p:cNvPr id="29" name="Grafik 2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C729B0-47A9-4243-A586-0F1216A538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334" y="1127692"/>
            <a:ext cx="2143125" cy="2143125"/>
          </a:xfrm>
          <a:prstGeom prst="rect">
            <a:avLst/>
          </a:prstGeom>
        </p:spPr>
      </p:pic>
      <p:pic>
        <p:nvPicPr>
          <p:cNvPr id="31" name="Grafik 30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BC0947-D283-4CB6-B7A1-83BE4CC2A5A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12" y="2599194"/>
            <a:ext cx="2136812" cy="997179"/>
          </a:xfrm>
          <a:prstGeom prst="rect">
            <a:avLst/>
          </a:prstGeom>
        </p:spPr>
      </p:pic>
      <p:pic>
        <p:nvPicPr>
          <p:cNvPr id="33" name="Grafik 32" descr="Ein Bild, das Schild, Zeichnung enthält.&#10;&#10;Automatisch generierte Beschreibung">
            <a:extLst>
              <a:ext uri="{FF2B5EF4-FFF2-40B4-BE49-F238E27FC236}">
                <a16:creationId xmlns:a16="http://schemas.microsoft.com/office/drawing/2014/main" id="{50A65939-FF52-4AF4-BB9C-8C1D2C4B365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75" y="4511373"/>
            <a:ext cx="2711067" cy="1524975"/>
          </a:xfrm>
          <a:prstGeom prst="rect">
            <a:avLst/>
          </a:prstGeom>
        </p:spPr>
      </p:pic>
      <p:pic>
        <p:nvPicPr>
          <p:cNvPr id="34" name="Grafik 3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EA224A5-0E9E-4717-8822-5B24633596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910" y="4773954"/>
            <a:ext cx="2136812" cy="997179"/>
          </a:xfrm>
          <a:prstGeom prst="rect">
            <a:avLst/>
          </a:prstGeom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5C468FC6-DBD5-4ED3-8E18-5520BB94DE39}"/>
              </a:ext>
            </a:extLst>
          </p:cNvPr>
          <p:cNvSpPr txBox="1"/>
          <p:nvPr/>
        </p:nvSpPr>
        <p:spPr>
          <a:xfrm>
            <a:off x="4541298" y="3212709"/>
            <a:ext cx="1352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2.7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679E607-6CEC-4C33-B391-CA67DD467188}"/>
              </a:ext>
            </a:extLst>
          </p:cNvPr>
          <p:cNvSpPr txBox="1"/>
          <p:nvPr/>
        </p:nvSpPr>
        <p:spPr>
          <a:xfrm>
            <a:off x="9015846" y="5542970"/>
            <a:ext cx="1352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3.5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FEFB0824-A5C4-4E59-A1DA-4322D0F0D756}"/>
              </a:ext>
            </a:extLst>
          </p:cNvPr>
          <p:cNvCxnSpPr>
            <a:cxnSpLocks/>
          </p:cNvCxnSpPr>
          <p:nvPr/>
        </p:nvCxnSpPr>
        <p:spPr>
          <a:xfrm flipV="1">
            <a:off x="2846407" y="3674374"/>
            <a:ext cx="1169461" cy="942783"/>
          </a:xfrm>
          <a:prstGeom prst="straightConnector1">
            <a:avLst/>
          </a:prstGeom>
          <a:ln w="444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927125F3-D69D-4381-A6D6-F0C885C73FE9}"/>
              </a:ext>
            </a:extLst>
          </p:cNvPr>
          <p:cNvCxnSpPr>
            <a:cxnSpLocks/>
          </p:cNvCxnSpPr>
          <p:nvPr/>
        </p:nvCxnSpPr>
        <p:spPr>
          <a:xfrm>
            <a:off x="6420402" y="2369410"/>
            <a:ext cx="2008360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29BC9646-CB04-4A7B-BC9D-D3338CA9D577}"/>
              </a:ext>
            </a:extLst>
          </p:cNvPr>
          <p:cNvCxnSpPr>
            <a:cxnSpLocks/>
            <a:stCxn id="48" idx="1"/>
          </p:cNvCxnSpPr>
          <p:nvPr/>
        </p:nvCxnSpPr>
        <p:spPr>
          <a:xfrm flipH="1" flipV="1">
            <a:off x="2846407" y="5272543"/>
            <a:ext cx="5704928" cy="1"/>
          </a:xfrm>
          <a:prstGeom prst="straightConnector1">
            <a:avLst/>
          </a:prstGeom>
          <a:ln w="444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523E4F6C-DC0A-4AA6-B185-D998B46AD4A4}"/>
              </a:ext>
            </a:extLst>
          </p:cNvPr>
          <p:cNvCxnSpPr>
            <a:cxnSpLocks/>
            <a:endCxn id="48" idx="0"/>
          </p:cNvCxnSpPr>
          <p:nvPr/>
        </p:nvCxnSpPr>
        <p:spPr>
          <a:xfrm>
            <a:off x="9692316" y="3429000"/>
            <a:ext cx="0" cy="1247283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8703984B-263E-4AA0-B2E5-099C5E4619B7}"/>
              </a:ext>
            </a:extLst>
          </p:cNvPr>
          <p:cNvSpPr txBox="1"/>
          <p:nvPr/>
        </p:nvSpPr>
        <p:spPr>
          <a:xfrm>
            <a:off x="9631029" y="3973948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Kann maximal bis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7B8B4A7-DA64-4F39-B8D8-55C6D3B043B3}"/>
              </a:ext>
            </a:extLst>
          </p:cNvPr>
          <p:cNvSpPr txBox="1"/>
          <p:nvPr/>
        </p:nvSpPr>
        <p:spPr>
          <a:xfrm>
            <a:off x="6542974" y="1980831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Läuft nur bis</a:t>
            </a:r>
          </a:p>
        </p:txBody>
      </p:sp>
      <p:pic>
        <p:nvPicPr>
          <p:cNvPr id="28" name="Grafik 27" descr="Ein Bild, das Schild, Zeichnung enthält.&#10;&#10;Automatisch generierte Beschreibung">
            <a:extLst>
              <a:ext uri="{FF2B5EF4-FFF2-40B4-BE49-F238E27FC236}">
                <a16:creationId xmlns:a16="http://schemas.microsoft.com/office/drawing/2014/main" id="{5B5B7A76-AE75-471E-9D9B-4903C7FC835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05" y="2833885"/>
            <a:ext cx="2711067" cy="1524975"/>
          </a:xfrm>
          <a:prstGeom prst="rect">
            <a:avLst/>
          </a:prstGeom>
        </p:spPr>
      </p:pic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2D587C15-BB71-4A42-BF63-E730AEC6602B}"/>
              </a:ext>
            </a:extLst>
          </p:cNvPr>
          <p:cNvCxnSpPr>
            <a:cxnSpLocks/>
          </p:cNvCxnSpPr>
          <p:nvPr/>
        </p:nvCxnSpPr>
        <p:spPr>
          <a:xfrm flipV="1">
            <a:off x="2860647" y="2558330"/>
            <a:ext cx="1169461" cy="942783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Multiplikationszeichen 51">
            <a:extLst>
              <a:ext uri="{FF2B5EF4-FFF2-40B4-BE49-F238E27FC236}">
                <a16:creationId xmlns:a16="http://schemas.microsoft.com/office/drawing/2014/main" id="{F31CB056-228A-4BCC-B491-E09A6F387FEA}"/>
              </a:ext>
            </a:extLst>
          </p:cNvPr>
          <p:cNvSpPr/>
          <p:nvPr/>
        </p:nvSpPr>
        <p:spPr>
          <a:xfrm rot="19421506">
            <a:off x="2922744" y="2680278"/>
            <a:ext cx="831885" cy="902031"/>
          </a:xfrm>
          <a:prstGeom prst="mathMultiply">
            <a:avLst/>
          </a:prstGeom>
          <a:solidFill>
            <a:schemeClr val="accent6"/>
          </a:solidFill>
          <a:ln w="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1DA13A0-3BD2-47CA-9AD5-7EF6AFFFDC5A}"/>
              </a:ext>
            </a:extLst>
          </p:cNvPr>
          <p:cNvSpPr txBox="1"/>
          <p:nvPr/>
        </p:nvSpPr>
        <p:spPr>
          <a:xfrm>
            <a:off x="3824866" y="3758699"/>
            <a:ext cx="19053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TF Package läuft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2038FCAB-6BB7-4487-A772-CAEEC22AD015}"/>
              </a:ext>
            </a:extLst>
          </p:cNvPr>
          <p:cNvSpPr txBox="1"/>
          <p:nvPr/>
        </p:nvSpPr>
        <p:spPr>
          <a:xfrm>
            <a:off x="962009" y="3999054"/>
            <a:ext cx="1905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 err="1">
                <a:solidFill>
                  <a:srgbClr val="FF0000"/>
                </a:solidFill>
              </a:rPr>
              <a:t>Runtime</a:t>
            </a:r>
            <a:endParaRPr lang="de-DE" sz="2400" b="1" dirty="0">
              <a:solidFill>
                <a:srgbClr val="FF0000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84C58C86-A966-430C-8A14-23D021555C11}"/>
              </a:ext>
            </a:extLst>
          </p:cNvPr>
          <p:cNvSpPr txBox="1"/>
          <p:nvPr/>
        </p:nvSpPr>
        <p:spPr>
          <a:xfrm>
            <a:off x="1442383" y="3012205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Py3.5-Py37</a:t>
            </a:r>
          </a:p>
        </p:txBody>
      </p:sp>
    </p:spTree>
    <p:extLst>
      <p:ext uri="{BB962C8B-B14F-4D97-AF65-F5344CB8AC3E}">
        <p14:creationId xmlns:p14="http://schemas.microsoft.com/office/powerpoint/2010/main" val="1298572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Pi Bildverarbeitung läuft auch mit Kinects (140 Std. Workload </a:t>
            </a:r>
            <a:r>
              <a:rPr lang="de-DE" dirty="0" err="1"/>
              <a:t>yeah</a:t>
            </a:r>
            <a:r>
              <a:rPr lang="de-DE" dirty="0"/>
              <a:t>!) jedoch fehlen weitere ROS Pakete, die eine lästige Installation mit sich führen oder sogar nicht installiert werden können.</a:t>
            </a:r>
          </a:p>
          <a:p>
            <a:r>
              <a:rPr lang="de-DE" dirty="0"/>
              <a:t>Das große Problem der Auslastung wurde behoben. Das Abonnieren von HD Informationen (z.B. </a:t>
            </a:r>
            <a:r>
              <a:rPr lang="de-DE" dirty="0" err="1"/>
              <a:t>Pointcloud</a:t>
            </a:r>
            <a:r>
              <a:rPr lang="de-DE" dirty="0"/>
              <a:t>) beansprucht ca. 25%  und das Veröffentlichen auch 25%. Somit fahren wir mit den Navigationssystemen aktuell auf 50% und mit Bild und Sprachverarbeitung auf 75%-80%</a:t>
            </a:r>
          </a:p>
          <a:p>
            <a:r>
              <a:rPr lang="de-DE" dirty="0"/>
              <a:t>Code optimiert, ausgelagert, effizienter gestaltet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Kurzfassung der Benchmark-Ergebnisse:</a:t>
            </a:r>
          </a:p>
          <a:p>
            <a:pPr lvl="1"/>
            <a:r>
              <a:rPr lang="de-DE" dirty="0"/>
              <a:t>Pi im Vergleich zum Alf sehr langsam bei gleicher Qualität</a:t>
            </a:r>
          </a:p>
          <a:p>
            <a:pPr lvl="1"/>
            <a:r>
              <a:rPr lang="de-DE" dirty="0"/>
              <a:t>Auslastungsproblem weg deshalb läuft der Code weiterhin auf Alf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passiert?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8" name="Grafik 7" descr="Ein Bild, das Mann, Foto, Telefon, Schild enthält.&#10;&#10;Automatisch generierte Beschreibung">
            <a:extLst>
              <a:ext uri="{FF2B5EF4-FFF2-40B4-BE49-F238E27FC236}">
                <a16:creationId xmlns:a16="http://schemas.microsoft.com/office/drawing/2014/main" id="{9642F725-B87B-4905-8692-4392713B07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5228" y="2780432"/>
            <a:ext cx="3280597" cy="2460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715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Person, darstellend, Gruppe, Foto enthält.&#10;&#10;Automatisch generierte Beschreibung">
            <a:extLst>
              <a:ext uri="{FF2B5EF4-FFF2-40B4-BE49-F238E27FC236}">
                <a16:creationId xmlns:a16="http://schemas.microsoft.com/office/drawing/2014/main" id="{1B995E8D-DEF2-4F78-996C-652AF6A2A5B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37" y="2066807"/>
            <a:ext cx="4096821" cy="2724386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1B085DE9-9023-4F14-8402-06ECA7F3E0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2804824"/>
              </p:ext>
            </p:extLst>
          </p:nvPr>
        </p:nvGraphicFramePr>
        <p:xfrm>
          <a:off x="4590533" y="1384441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HO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5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Eine Person fehl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5511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0" name="Inhaltsplatzhalter 9" descr="Ein Bild, das Person, darstellend, Skifahren, stehend enthält.&#10;&#10;Automatisch generierte Beschreibung">
            <a:extLst>
              <a:ext uri="{FF2B5EF4-FFF2-40B4-BE49-F238E27FC236}">
                <a16:creationId xmlns:a16="http://schemas.microsoft.com/office/drawing/2014/main" id="{5A5BCB5A-8210-4984-A914-7730806F0D0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1970883"/>
            <a:ext cx="4376058" cy="2916233"/>
          </a:xfrm>
        </p:spPr>
      </p:pic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EA936C85-B9CE-4DFE-A56E-E1EDE8734F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9194753"/>
              </p:ext>
            </p:extLst>
          </p:nvPr>
        </p:nvGraphicFramePr>
        <p:xfrm>
          <a:off x="4910652" y="1190260"/>
          <a:ext cx="6919398" cy="4477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mode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affeemodel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61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8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49748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Person, stehend, darstellend, Personen enthält.&#10;&#10;Automatisch generierte Beschreibung">
            <a:extLst>
              <a:ext uri="{FF2B5EF4-FFF2-40B4-BE49-F238E27FC236}">
                <a16:creationId xmlns:a16="http://schemas.microsoft.com/office/drawing/2014/main" id="{F66760E3-C480-4EE7-B322-6A25BF1D3BB9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1896268"/>
            <a:ext cx="4599992" cy="3065464"/>
          </a:xfrm>
        </p:spPr>
      </p:pic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ED410249-2595-4641-BBCD-38509300AF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159544"/>
              </p:ext>
            </p:extLst>
          </p:nvPr>
        </p:nvGraphicFramePr>
        <p:xfrm>
          <a:off x="4923833" y="1190261"/>
          <a:ext cx="6919398" cy="4477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3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6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Eine Person doppel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9659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darstellend, Person, draußen, Foto enthält.&#10;&#10;Automatisch generierte Beschreibung">
            <a:extLst>
              <a:ext uri="{FF2B5EF4-FFF2-40B4-BE49-F238E27FC236}">
                <a16:creationId xmlns:a16="http://schemas.microsoft.com/office/drawing/2014/main" id="{43292AE4-53E6-4578-BE78-98228A24A29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78" y="2162175"/>
            <a:ext cx="3810000" cy="2533650"/>
          </a:xfrm>
        </p:spPr>
      </p:pic>
      <p:graphicFrame>
        <p:nvGraphicFramePr>
          <p:cNvPr id="11" name="Tabelle 12">
            <a:extLst>
              <a:ext uri="{FF2B5EF4-FFF2-40B4-BE49-F238E27FC236}">
                <a16:creationId xmlns:a16="http://schemas.microsoft.com/office/drawing/2014/main" id="{0989CACD-1DEF-4AF8-85E6-6124F34E4A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48591"/>
              </p:ext>
            </p:extLst>
          </p:nvPr>
        </p:nvGraphicFramePr>
        <p:xfrm>
          <a:off x="4543940" y="1384441"/>
          <a:ext cx="6919398" cy="450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Tensorflow</a:t>
                      </a:r>
                      <a:r>
                        <a:rPr lang="de-DE" dirty="0"/>
                        <a:t> Lite</a:t>
                      </a:r>
                    </a:p>
                    <a:p>
                      <a:r>
                        <a:rPr lang="de-DE" dirty="0" err="1"/>
                        <a:t>Runti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8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35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Rechte Hälfte geht bess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6893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der Benchmark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Inhaltsplatzhalter 4" descr="Ein Bild, das Person, sitzend, drinnen, Gruppe enthält.&#10;&#10;Automatisch generierte Beschreibung">
            <a:extLst>
              <a:ext uri="{FF2B5EF4-FFF2-40B4-BE49-F238E27FC236}">
                <a16:creationId xmlns:a16="http://schemas.microsoft.com/office/drawing/2014/main" id="{3C9B26E6-3CB0-406E-A01A-9AD90A61664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138777"/>
            <a:ext cx="3810000" cy="2533650"/>
          </a:xfrm>
        </p:spPr>
      </p:pic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D8981EDB-873D-40A8-B21B-266774A484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825920"/>
              </p:ext>
            </p:extLst>
          </p:nvPr>
        </p:nvGraphicFramePr>
        <p:xfrm>
          <a:off x="4543940" y="1165870"/>
          <a:ext cx="6919398" cy="45262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7257">
                  <a:extLst>
                    <a:ext uri="{9D8B030D-6E8A-4147-A177-3AD203B41FA5}">
                      <a16:colId xmlns:a16="http://schemas.microsoft.com/office/drawing/2014/main" val="755568760"/>
                    </a:ext>
                  </a:extLst>
                </a:gridCol>
                <a:gridCol w="2065675">
                  <a:extLst>
                    <a:ext uri="{9D8B030D-6E8A-4147-A177-3AD203B41FA5}">
                      <a16:colId xmlns:a16="http://schemas.microsoft.com/office/drawing/2014/main" val="2458523171"/>
                    </a:ext>
                  </a:extLst>
                </a:gridCol>
                <a:gridCol w="2306466">
                  <a:extLst>
                    <a:ext uri="{9D8B030D-6E8A-4147-A177-3AD203B41FA5}">
                      <a16:colId xmlns:a16="http://schemas.microsoft.com/office/drawing/2014/main" val="4124400452"/>
                    </a:ext>
                  </a:extLst>
                </a:gridCol>
              </a:tblGrid>
              <a:tr h="7421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spb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l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48628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Verfah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HO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O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420390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Sonstige Ausla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% bei 4 Ker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% bei 8 Ker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0724048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Nachbearbei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 Maxima Suppr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774415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2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22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400872"/>
                  </a:ext>
                </a:extLst>
              </a:tr>
              <a:tr h="742181">
                <a:tc>
                  <a:txBody>
                    <a:bodyPr/>
                    <a:lstStyle/>
                    <a:p>
                      <a:r>
                        <a:rPr lang="de-DE" dirty="0"/>
                        <a:t>Qualitä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Schlecht aber das war klar (Personen sitzen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064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7134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668</Words>
  <Application>Microsoft Office PowerPoint</Application>
  <PresentationFormat>Breitbild</PresentationFormat>
  <Paragraphs>286</Paragraphs>
  <Slides>1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3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Agenda</vt:lpstr>
      <vt:lpstr>Korrektur der Kausalkette zur Einbindung von Tensorflow Lite</vt:lpstr>
      <vt:lpstr>Was ist passiert?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Ergebnisse der Benchmark</vt:lpstr>
      <vt:lpstr>PowerPoint-Präsentation</vt:lpstr>
      <vt:lpstr>Ergebnisse der Benchmark</vt:lpstr>
      <vt:lpstr>Ergebnisse der Benchmark</vt:lpstr>
      <vt:lpstr>Ergebnisse der Benchmark</vt:lpstr>
      <vt:lpstr>PowerPoint-Präsentation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Giuliano 'Giulli' Montorio</cp:lastModifiedBy>
  <cp:revision>31</cp:revision>
  <dcterms:created xsi:type="dcterms:W3CDTF">2019-09-25T11:15:24Z</dcterms:created>
  <dcterms:modified xsi:type="dcterms:W3CDTF">2020-07-09T07:4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